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138.xml" ContentType="application/vnd.openxmlformats-officedocument.presentationml.slide+xml"/>
  <Override PartName="/ppt/tags/tag456.xml" ContentType="application/vnd.openxmlformats-officedocument.presentationml.tags+xml"/>
  <Override PartName="/ppt/tags/tag455.xml" ContentType="application/vnd.openxmlformats-officedocument.presentationml.tags+xml"/>
  <Override PartName="/ppt/notesSlides/notesSlide13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18" r:id="rId14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138.xml" Id="rId141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4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38.xml.rels>&#65279;<?xml version="1.0" encoding="utf-8"?><Relationships xmlns="http://schemas.openxmlformats.org/package/2006/relationships"><Relationship Type="http://schemas.openxmlformats.org/officeDocument/2006/relationships/slide" Target="/ppt/slides/slide138.xml" Id="rId2" /><Relationship Type="http://schemas.openxmlformats.org/officeDocument/2006/relationships/notesMaster" Target="/ppt/notesMasters/notesMaster1.xml" Id="rId1" /></Relationships>
</file>

<file path=ppt/notesSlides/notesSlide1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96459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38.xml.rels>&#65279;<?xml version="1.0" encoding="utf-8"?><Relationships xmlns="http://schemas.openxmlformats.org/package/2006/relationships"><Relationship Type="http://schemas.openxmlformats.org/officeDocument/2006/relationships/tags" Target="/ppt/tags/tag456.xml" Id="rId3" /><Relationship Type="http://schemas.openxmlformats.org/officeDocument/2006/relationships/image" Target="/ppt/media/image4.emf" Id="rId7" /><Relationship Type="http://schemas.openxmlformats.org/officeDocument/2006/relationships/tags" Target="/ppt/tags/tag455.xml" Id="rId2" /><Relationship Type="http://schemas.openxmlformats.org/officeDocument/2006/relationships/vmlDrawing" Target="/ppt/drawings/vmlDrawing142.vml" Id="rId1" /><Relationship Type="http://schemas.openxmlformats.org/officeDocument/2006/relationships/oleObject" Target="/ppt/embeddings/oleObject142.bin" Id="rId6" /><Relationship Type="http://schemas.openxmlformats.org/officeDocument/2006/relationships/notesSlide" Target="/ppt/notesSlides/notesSlide138.xml" Id="rId5" /><Relationship Type="http://schemas.openxmlformats.org/officeDocument/2006/relationships/slideLayout" Target="/ppt/slideLayouts/slideLayout5.xml" Id="rId4" /></Relationships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151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7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16742BCC-E921-810A-D37E-E32168EF3613}"/>
              </a:ext>
            </a:extLst>
          </p:cNvPr>
          <p:cNvGrpSpPr>
            <a:grpSpLocks/>
          </p:cNvGrpSpPr>
          <p:nvPr/>
        </p:nvGrpSpPr>
        <p:grpSpPr>
          <a:xfrm>
            <a:off x="3836686" y="1196511"/>
            <a:ext cx="4518032" cy="4875151"/>
            <a:chOff x="3836686" y="1196511"/>
            <a:chExt cx="4518032" cy="4875151"/>
          </a:xfrm>
        </p:grpSpPr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F7E39391-79F3-20BA-F3E6-387107D89948}"/>
                </a:ext>
              </a:extLst>
            </p:cNvPr>
            <p:cNvSpPr>
              <a:spLocks/>
            </p:cNvSpPr>
            <p:nvPr/>
          </p:nvSpPr>
          <p:spPr>
            <a:xfrm rot="1800000">
              <a:off x="3836686" y="2864286"/>
              <a:ext cx="2054995" cy="1772355"/>
            </a:xfrm>
            <a:custGeom>
              <a:avLst/>
              <a:gdLst>
                <a:gd name="connsiteX0" fmla="*/ 2054996 w 2054995"/>
                <a:gd name="connsiteY0" fmla="*/ 1037262 h 1772355"/>
                <a:gd name="connsiteX1" fmla="*/ 781875 w 2054995"/>
                <a:gd name="connsiteY1" fmla="*/ 1772356 h 1772355"/>
                <a:gd name="connsiteX2" fmla="*/ 0 w 2054995"/>
                <a:gd name="connsiteY2" fmla="*/ 169637 h 1772355"/>
                <a:gd name="connsiteX3" fmla="*/ 7013 w 2054995"/>
                <a:gd name="connsiteY3" fmla="*/ 0 h 1772355"/>
                <a:gd name="connsiteX4" fmla="*/ 1602098 w 2054995"/>
                <a:gd name="connsiteY4" fmla="*/ 920886 h 1772355"/>
                <a:gd name="connsiteX5" fmla="*/ 2034401 w 2054995"/>
                <a:gd name="connsiteY5" fmla="*/ 1037528 h 1772355"/>
                <a:gd name="connsiteX6" fmla="*/ 2054996 w 2054995"/>
                <a:gd name="connsiteY6" fmla="*/ 1037262 h 1772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54995" h="1772355">
                  <a:moveTo>
                    <a:pt x="2054996" y="1037262"/>
                  </a:moveTo>
                  <a:lnTo>
                    <a:pt x="781875" y="1772356"/>
                  </a:lnTo>
                  <a:cubicBezTo>
                    <a:pt x="306163" y="1399438"/>
                    <a:pt x="0" y="819601"/>
                    <a:pt x="0" y="169637"/>
                  </a:cubicBezTo>
                  <a:cubicBezTo>
                    <a:pt x="0" y="112470"/>
                    <a:pt x="2397" y="55924"/>
                    <a:pt x="7013" y="0"/>
                  </a:cubicBezTo>
                  <a:lnTo>
                    <a:pt x="1602098" y="920886"/>
                  </a:lnTo>
                  <a:cubicBezTo>
                    <a:pt x="1735783" y="998115"/>
                    <a:pt x="1884116" y="1037528"/>
                    <a:pt x="2034401" y="1037528"/>
                  </a:cubicBezTo>
                  <a:cubicBezTo>
                    <a:pt x="2041237" y="1037528"/>
                    <a:pt x="2048161" y="1037440"/>
                    <a:pt x="2054996" y="1037262"/>
                  </a:cubicBezTo>
                  <a:close/>
                </a:path>
              </a:pathLst>
            </a:custGeom>
            <a:solidFill>
              <a:schemeClr val="bg2"/>
            </a:solidFill>
            <a:ln w="88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2FE8F921-89AA-0056-CE75-0319865B361C}"/>
                </a:ext>
              </a:extLst>
            </p:cNvPr>
            <p:cNvSpPr>
              <a:spLocks/>
            </p:cNvSpPr>
            <p:nvPr/>
          </p:nvSpPr>
          <p:spPr>
            <a:xfrm rot="1800000">
              <a:off x="4348832" y="3786341"/>
              <a:ext cx="1921576" cy="1619406"/>
            </a:xfrm>
            <a:custGeom>
              <a:avLst/>
              <a:gdLst>
                <a:gd name="connsiteX0" fmla="*/ 1921577 w 1921576"/>
                <a:gd name="connsiteY0" fmla="*/ 0 h 1619406"/>
                <a:gd name="connsiteX1" fmla="*/ 1921577 w 1921576"/>
                <a:gd name="connsiteY1" fmla="*/ 1471873 h 1619406"/>
                <a:gd name="connsiteX2" fmla="*/ 1160562 w 1921576"/>
                <a:gd name="connsiteY2" fmla="*/ 1619407 h 1619406"/>
                <a:gd name="connsiteX3" fmla="*/ 0 w 1921576"/>
                <a:gd name="connsiteY3" fmla="*/ 1255367 h 1619406"/>
                <a:gd name="connsiteX4" fmla="*/ 1575733 w 1921576"/>
                <a:gd name="connsiteY4" fmla="*/ 345488 h 1619406"/>
                <a:gd name="connsiteX5" fmla="*/ 1582391 w 1921576"/>
                <a:gd name="connsiteY5" fmla="*/ 341759 h 1619406"/>
                <a:gd name="connsiteX6" fmla="*/ 1911812 w 1921576"/>
                <a:gd name="connsiteY6" fmla="*/ 17310 h 1619406"/>
                <a:gd name="connsiteX7" fmla="*/ 1921577 w 1921576"/>
                <a:gd name="connsiteY7" fmla="*/ 0 h 1619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1576" h="1619406">
                  <a:moveTo>
                    <a:pt x="1921577" y="0"/>
                  </a:moveTo>
                  <a:lnTo>
                    <a:pt x="1921577" y="1471873"/>
                  </a:lnTo>
                  <a:cubicBezTo>
                    <a:pt x="1686339" y="1567033"/>
                    <a:pt x="1429443" y="1619407"/>
                    <a:pt x="1160562" y="1619407"/>
                  </a:cubicBezTo>
                  <a:cubicBezTo>
                    <a:pt x="729590" y="1619407"/>
                    <a:pt x="329421" y="1484834"/>
                    <a:pt x="0" y="1255367"/>
                  </a:cubicBezTo>
                  <a:lnTo>
                    <a:pt x="1575733" y="345488"/>
                  </a:lnTo>
                  <a:lnTo>
                    <a:pt x="1582391" y="341759"/>
                  </a:lnTo>
                  <a:cubicBezTo>
                    <a:pt x="1718651" y="266661"/>
                    <a:pt x="1832097" y="155523"/>
                    <a:pt x="1911812" y="17310"/>
                  </a:cubicBezTo>
                  <a:cubicBezTo>
                    <a:pt x="1915096" y="11540"/>
                    <a:pt x="1918381" y="5770"/>
                    <a:pt x="1921577" y="0"/>
                  </a:cubicBezTo>
                  <a:close/>
                </a:path>
              </a:pathLst>
            </a:custGeom>
            <a:solidFill>
              <a:schemeClr val="bg2"/>
            </a:solidFill>
            <a:ln w="88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E8632708-C2E2-0D58-E36A-5AB1341F70D7}"/>
                </a:ext>
              </a:extLst>
            </p:cNvPr>
            <p:cNvSpPr>
              <a:spLocks/>
            </p:cNvSpPr>
            <p:nvPr/>
          </p:nvSpPr>
          <p:spPr>
            <a:xfrm rot="1800000">
              <a:off x="6304324" y="3779211"/>
              <a:ext cx="1274985" cy="2292451"/>
            </a:xfrm>
            <a:custGeom>
              <a:avLst/>
              <a:gdLst>
                <a:gd name="connsiteX0" fmla="*/ 1274985 w 1274985"/>
                <a:gd name="connsiteY0" fmla="*/ 736070 h 2292451"/>
                <a:gd name="connsiteX1" fmla="*/ 126584 w 1274985"/>
                <a:gd name="connsiteY1" fmla="*/ 2292451 h 2292451"/>
                <a:gd name="connsiteX2" fmla="*/ 126584 w 1274985"/>
                <a:gd name="connsiteY2" fmla="*/ 450945 h 2292451"/>
                <a:gd name="connsiteX3" fmla="*/ 126407 w 1274985"/>
                <a:gd name="connsiteY3" fmla="*/ 450945 h 2292451"/>
                <a:gd name="connsiteX4" fmla="*/ 0 w 1274985"/>
                <a:gd name="connsiteY4" fmla="*/ 0 h 2292451"/>
                <a:gd name="connsiteX5" fmla="*/ 1274985 w 1274985"/>
                <a:gd name="connsiteY5" fmla="*/ 736070 h 2292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4985" h="2292451">
                  <a:moveTo>
                    <a:pt x="1274985" y="736070"/>
                  </a:moveTo>
                  <a:cubicBezTo>
                    <a:pt x="1177961" y="1425359"/>
                    <a:pt x="734295" y="2005107"/>
                    <a:pt x="126584" y="2292451"/>
                  </a:cubicBezTo>
                  <a:lnTo>
                    <a:pt x="126584" y="450945"/>
                  </a:lnTo>
                  <a:lnTo>
                    <a:pt x="126407" y="450945"/>
                  </a:lnTo>
                  <a:cubicBezTo>
                    <a:pt x="126140" y="292315"/>
                    <a:pt x="82377" y="135816"/>
                    <a:pt x="0" y="0"/>
                  </a:cubicBezTo>
                  <a:lnTo>
                    <a:pt x="1274985" y="736070"/>
                  </a:lnTo>
                  <a:close/>
                </a:path>
              </a:pathLst>
            </a:custGeom>
            <a:solidFill>
              <a:schemeClr val="bg2"/>
            </a:solidFill>
            <a:ln w="88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B99C0307-B367-2EE2-6E98-A0D223B58A4D}"/>
                </a:ext>
              </a:extLst>
            </p:cNvPr>
            <p:cNvSpPr>
              <a:spLocks/>
            </p:cNvSpPr>
            <p:nvPr/>
          </p:nvSpPr>
          <p:spPr>
            <a:xfrm rot="1800000">
              <a:off x="6299634" y="2631509"/>
              <a:ext cx="2055084" cy="1772266"/>
            </a:xfrm>
            <a:custGeom>
              <a:avLst/>
              <a:gdLst>
                <a:gd name="connsiteX0" fmla="*/ 2055085 w 2055084"/>
                <a:gd name="connsiteY0" fmla="*/ 1602718 h 1772266"/>
                <a:gd name="connsiteX1" fmla="*/ 2048072 w 2055084"/>
                <a:gd name="connsiteY1" fmla="*/ 1772267 h 1772266"/>
                <a:gd name="connsiteX2" fmla="*/ 452987 w 2055084"/>
                <a:gd name="connsiteY2" fmla="*/ 851380 h 1772266"/>
                <a:gd name="connsiteX3" fmla="*/ 0 w 2055084"/>
                <a:gd name="connsiteY3" fmla="*/ 735093 h 1772266"/>
                <a:gd name="connsiteX4" fmla="*/ 1273210 w 2055084"/>
                <a:gd name="connsiteY4" fmla="*/ 0 h 1772266"/>
                <a:gd name="connsiteX5" fmla="*/ 2055085 w 2055084"/>
                <a:gd name="connsiteY5" fmla="*/ 1602718 h 1772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5084" h="1772266">
                  <a:moveTo>
                    <a:pt x="2055085" y="1602718"/>
                  </a:moveTo>
                  <a:cubicBezTo>
                    <a:pt x="2055085" y="1659797"/>
                    <a:pt x="2052688" y="1716342"/>
                    <a:pt x="2048072" y="1772267"/>
                  </a:cubicBezTo>
                  <a:lnTo>
                    <a:pt x="452987" y="851380"/>
                  </a:lnTo>
                  <a:cubicBezTo>
                    <a:pt x="313265" y="770690"/>
                    <a:pt x="157387" y="731276"/>
                    <a:pt x="0" y="735093"/>
                  </a:cubicBezTo>
                  <a:lnTo>
                    <a:pt x="1273210" y="0"/>
                  </a:lnTo>
                  <a:cubicBezTo>
                    <a:pt x="1748921" y="372917"/>
                    <a:pt x="2055085" y="952754"/>
                    <a:pt x="2055085" y="1602718"/>
                  </a:cubicBezTo>
                  <a:close/>
                </a:path>
              </a:pathLst>
            </a:custGeom>
            <a:solidFill>
              <a:schemeClr val="bg2"/>
            </a:solidFill>
            <a:ln w="88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7AB9AD1E-F336-1F91-73B6-AC16D4E7D4B0}"/>
                </a:ext>
              </a:extLst>
            </p:cNvPr>
            <p:cNvSpPr>
              <a:spLocks/>
            </p:cNvSpPr>
            <p:nvPr/>
          </p:nvSpPr>
          <p:spPr>
            <a:xfrm rot="1800000">
              <a:off x="5920990" y="1862424"/>
              <a:ext cx="1921576" cy="1619318"/>
            </a:xfrm>
            <a:custGeom>
              <a:avLst/>
              <a:gdLst>
                <a:gd name="connsiteX0" fmla="*/ 1921576 w 1921576"/>
                <a:gd name="connsiteY0" fmla="*/ 364040 h 1619318"/>
                <a:gd name="connsiteX1" fmla="*/ 346376 w 1921576"/>
                <a:gd name="connsiteY1" fmla="*/ 1273475 h 1619318"/>
                <a:gd name="connsiteX2" fmla="*/ 345843 w 1921576"/>
                <a:gd name="connsiteY2" fmla="*/ 1273742 h 1619318"/>
                <a:gd name="connsiteX3" fmla="*/ 9765 w 1921576"/>
                <a:gd name="connsiteY3" fmla="*/ 1602008 h 1619318"/>
                <a:gd name="connsiteX4" fmla="*/ 0 w 1921576"/>
                <a:gd name="connsiteY4" fmla="*/ 1619318 h 1619318"/>
                <a:gd name="connsiteX5" fmla="*/ 0 w 1921576"/>
                <a:gd name="connsiteY5" fmla="*/ 147534 h 1619318"/>
                <a:gd name="connsiteX6" fmla="*/ 761014 w 1921576"/>
                <a:gd name="connsiteY6" fmla="*/ 0 h 1619318"/>
                <a:gd name="connsiteX7" fmla="*/ 1921576 w 1921576"/>
                <a:gd name="connsiteY7" fmla="*/ 364040 h 161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1576" h="1619318">
                  <a:moveTo>
                    <a:pt x="1921576" y="364040"/>
                  </a:moveTo>
                  <a:lnTo>
                    <a:pt x="346376" y="1273475"/>
                  </a:lnTo>
                  <a:lnTo>
                    <a:pt x="345843" y="1273742"/>
                  </a:lnTo>
                  <a:cubicBezTo>
                    <a:pt x="206742" y="1349195"/>
                    <a:pt x="90810" y="1461576"/>
                    <a:pt x="9765" y="1602008"/>
                  </a:cubicBezTo>
                  <a:cubicBezTo>
                    <a:pt x="6480" y="1607778"/>
                    <a:pt x="3196" y="1613548"/>
                    <a:pt x="0" y="1619318"/>
                  </a:cubicBezTo>
                  <a:lnTo>
                    <a:pt x="0" y="147534"/>
                  </a:lnTo>
                  <a:cubicBezTo>
                    <a:pt x="235237" y="52374"/>
                    <a:pt x="492134" y="0"/>
                    <a:pt x="761014" y="0"/>
                  </a:cubicBezTo>
                  <a:cubicBezTo>
                    <a:pt x="1191986" y="0"/>
                    <a:pt x="1592156" y="134573"/>
                    <a:pt x="1921576" y="364040"/>
                  </a:cubicBezTo>
                  <a:close/>
                </a:path>
              </a:pathLst>
            </a:custGeom>
            <a:solidFill>
              <a:schemeClr val="accent1"/>
            </a:solidFill>
            <a:ln w="88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67713F21-E6BB-7620-24F2-C7AA6B68CB71}"/>
                </a:ext>
              </a:extLst>
            </p:cNvPr>
            <p:cNvSpPr>
              <a:spLocks/>
            </p:cNvSpPr>
            <p:nvPr/>
          </p:nvSpPr>
          <p:spPr>
            <a:xfrm rot="1800000">
              <a:off x="4612090" y="1196511"/>
              <a:ext cx="1274985" cy="2292362"/>
            </a:xfrm>
            <a:custGeom>
              <a:avLst/>
              <a:gdLst>
                <a:gd name="connsiteX0" fmla="*/ 1274985 w 1274985"/>
                <a:gd name="connsiteY0" fmla="*/ 2292362 h 2292362"/>
                <a:gd name="connsiteX1" fmla="*/ 0 w 1274985"/>
                <a:gd name="connsiteY1" fmla="*/ 1556292 h 2292362"/>
                <a:gd name="connsiteX2" fmla="*/ 1148401 w 1274985"/>
                <a:gd name="connsiteY2" fmla="*/ 0 h 2292362"/>
                <a:gd name="connsiteX3" fmla="*/ 1148401 w 1274985"/>
                <a:gd name="connsiteY3" fmla="*/ 1841506 h 2292362"/>
                <a:gd name="connsiteX4" fmla="*/ 1148579 w 1274985"/>
                <a:gd name="connsiteY4" fmla="*/ 1841506 h 2292362"/>
                <a:gd name="connsiteX5" fmla="*/ 1274985 w 1274985"/>
                <a:gd name="connsiteY5" fmla="*/ 2292362 h 2292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4985" h="2292362">
                  <a:moveTo>
                    <a:pt x="1274985" y="2292362"/>
                  </a:moveTo>
                  <a:lnTo>
                    <a:pt x="0" y="1556292"/>
                  </a:lnTo>
                  <a:cubicBezTo>
                    <a:pt x="97113" y="866915"/>
                    <a:pt x="540690" y="287344"/>
                    <a:pt x="1148401" y="0"/>
                  </a:cubicBezTo>
                  <a:lnTo>
                    <a:pt x="1148401" y="1841506"/>
                  </a:lnTo>
                  <a:lnTo>
                    <a:pt x="1148579" y="1841506"/>
                  </a:lnTo>
                  <a:cubicBezTo>
                    <a:pt x="1148845" y="2000225"/>
                    <a:pt x="1192608" y="2156546"/>
                    <a:pt x="1274985" y="2292362"/>
                  </a:cubicBezTo>
                  <a:close/>
                </a:path>
              </a:pathLst>
            </a:custGeom>
            <a:solidFill>
              <a:schemeClr val="bg2"/>
            </a:solidFill>
            <a:ln w="88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Six circle </a:t>
            </a:r>
            <a:r>
              <a:rPr lang="en-US">
                <a:sym typeface="Futura"/>
              </a:rPr>
              <a:t>s</a:t>
            </a:r>
            <a:r>
              <a:rPr lang="en-US" noProof="0" err="1">
                <a:sym typeface="Futura"/>
              </a:rPr>
              <a:t>egments</a:t>
            </a:r>
            <a:endParaRPr lang="en-US"/>
          </a:p>
        </p:txBody>
      </p:sp>
      <p:sp>
        <p:nvSpPr>
          <p:cNvPr id="2" name="Textfeld 55">
            <a:extLst>
              <a:ext uri="{FF2B5EF4-FFF2-40B4-BE49-F238E27FC236}">
                <a16:creationId xmlns:a16="http://schemas.microsoft.com/office/drawing/2014/main" id="{E18E4C4D-757F-E99A-2F48-4C93C1AE2A9B}"/>
              </a:ext>
            </a:extLst>
          </p:cNvPr>
          <p:cNvSpPr txBox="1">
            <a:spLocks/>
          </p:cNvSpPr>
          <p:nvPr/>
        </p:nvSpPr>
        <p:spPr bwMode="gray">
          <a:xfrm>
            <a:off x="6436040" y="2223291"/>
            <a:ext cx="934139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Lorem ipsum dolor sit</a:t>
            </a:r>
          </a:p>
        </p:txBody>
      </p:sp>
      <p:sp>
        <p:nvSpPr>
          <p:cNvPr id="3" name="Textfeld 56">
            <a:extLst>
              <a:ext uri="{FF2B5EF4-FFF2-40B4-BE49-F238E27FC236}">
                <a16:creationId xmlns:a16="http://schemas.microsoft.com/office/drawing/2014/main" id="{10A5183F-2305-12F2-3108-427AD64B4923}"/>
              </a:ext>
            </a:extLst>
          </p:cNvPr>
          <p:cNvSpPr txBox="1">
            <a:spLocks/>
          </p:cNvSpPr>
          <p:nvPr/>
        </p:nvSpPr>
        <p:spPr bwMode="gray">
          <a:xfrm>
            <a:off x="6436040" y="1930078"/>
            <a:ext cx="93413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01.</a:t>
            </a:r>
          </a:p>
        </p:txBody>
      </p:sp>
      <p:sp>
        <p:nvSpPr>
          <p:cNvPr id="4" name="Textfeld 53">
            <a:extLst>
              <a:ext uri="{FF2B5EF4-FFF2-40B4-BE49-F238E27FC236}">
                <a16:creationId xmlns:a16="http://schemas.microsoft.com/office/drawing/2014/main" id="{E082AEF2-5E9E-6D41-6088-5C8FBD3125D7}"/>
              </a:ext>
            </a:extLst>
          </p:cNvPr>
          <p:cNvSpPr txBox="1">
            <a:spLocks/>
          </p:cNvSpPr>
          <p:nvPr/>
        </p:nvSpPr>
        <p:spPr bwMode="gray">
          <a:xfrm>
            <a:off x="5095997" y="4895624"/>
            <a:ext cx="934139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rem ipsum dolor sit</a:t>
            </a:r>
          </a:p>
        </p:txBody>
      </p:sp>
      <p:sp>
        <p:nvSpPr>
          <p:cNvPr id="6" name="Textfeld 54">
            <a:extLst>
              <a:ext uri="{FF2B5EF4-FFF2-40B4-BE49-F238E27FC236}">
                <a16:creationId xmlns:a16="http://schemas.microsoft.com/office/drawing/2014/main" id="{AE1A6467-78BF-4DBB-66A4-1DA0C66FABB5}"/>
              </a:ext>
            </a:extLst>
          </p:cNvPr>
          <p:cNvSpPr txBox="1">
            <a:spLocks/>
          </p:cNvSpPr>
          <p:nvPr/>
        </p:nvSpPr>
        <p:spPr bwMode="gray">
          <a:xfrm>
            <a:off x="5095997" y="4602411"/>
            <a:ext cx="93413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b="1" kern="0">
                <a:solidFill>
                  <a:schemeClr val="accent1"/>
                </a:solidFill>
              </a:rPr>
              <a:t>04.</a:t>
            </a:r>
          </a:p>
        </p:txBody>
      </p:sp>
      <p:sp>
        <p:nvSpPr>
          <p:cNvPr id="7" name="Textfeld 51">
            <a:extLst>
              <a:ext uri="{FF2B5EF4-FFF2-40B4-BE49-F238E27FC236}">
                <a16:creationId xmlns:a16="http://schemas.microsoft.com/office/drawing/2014/main" id="{18EF3D6A-9FC9-7175-61D9-47593492CE6C}"/>
              </a:ext>
            </a:extLst>
          </p:cNvPr>
          <p:cNvSpPr txBox="1">
            <a:spLocks/>
          </p:cNvSpPr>
          <p:nvPr/>
        </p:nvSpPr>
        <p:spPr bwMode="gray">
          <a:xfrm>
            <a:off x="7285284" y="3306634"/>
            <a:ext cx="799724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rem ipsum sit</a:t>
            </a:r>
          </a:p>
        </p:txBody>
      </p:sp>
      <p:sp>
        <p:nvSpPr>
          <p:cNvPr id="9" name="Textfeld 52">
            <a:extLst>
              <a:ext uri="{FF2B5EF4-FFF2-40B4-BE49-F238E27FC236}">
                <a16:creationId xmlns:a16="http://schemas.microsoft.com/office/drawing/2014/main" id="{8A280EF2-9A01-AABC-AE4F-EF19EBB3CE5F}"/>
              </a:ext>
            </a:extLst>
          </p:cNvPr>
          <p:cNvSpPr txBox="1">
            <a:spLocks/>
          </p:cNvSpPr>
          <p:nvPr/>
        </p:nvSpPr>
        <p:spPr bwMode="gray">
          <a:xfrm>
            <a:off x="7285284" y="3013421"/>
            <a:ext cx="722832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b="1" kern="0">
                <a:solidFill>
                  <a:schemeClr val="accent1"/>
                </a:solidFill>
              </a:rPr>
              <a:t>02.</a:t>
            </a:r>
          </a:p>
        </p:txBody>
      </p:sp>
      <p:sp>
        <p:nvSpPr>
          <p:cNvPr id="11" name="Textfeld 49">
            <a:extLst>
              <a:ext uri="{FF2B5EF4-FFF2-40B4-BE49-F238E27FC236}">
                <a16:creationId xmlns:a16="http://schemas.microsoft.com/office/drawing/2014/main" id="{159CDB35-F309-493B-CC79-DF9044E717FE}"/>
              </a:ext>
            </a:extLst>
          </p:cNvPr>
          <p:cNvSpPr txBox="1">
            <a:spLocks/>
          </p:cNvSpPr>
          <p:nvPr/>
        </p:nvSpPr>
        <p:spPr bwMode="gray">
          <a:xfrm>
            <a:off x="4851141" y="2431275"/>
            <a:ext cx="799724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rem ipsum sit</a:t>
            </a:r>
          </a:p>
        </p:txBody>
      </p:sp>
      <p:sp>
        <p:nvSpPr>
          <p:cNvPr id="12" name="Textfeld 50">
            <a:extLst>
              <a:ext uri="{FF2B5EF4-FFF2-40B4-BE49-F238E27FC236}">
                <a16:creationId xmlns:a16="http://schemas.microsoft.com/office/drawing/2014/main" id="{1A0F324F-9744-2A5E-DE52-47C1EEB48596}"/>
              </a:ext>
            </a:extLst>
          </p:cNvPr>
          <p:cNvSpPr txBox="1">
            <a:spLocks/>
          </p:cNvSpPr>
          <p:nvPr/>
        </p:nvSpPr>
        <p:spPr bwMode="gray">
          <a:xfrm>
            <a:off x="4851141" y="2138062"/>
            <a:ext cx="722832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b="1" kern="0">
                <a:solidFill>
                  <a:schemeClr val="accent1"/>
                </a:solidFill>
              </a:rPr>
              <a:t>06.</a:t>
            </a:r>
          </a:p>
        </p:txBody>
      </p:sp>
      <p:sp>
        <p:nvSpPr>
          <p:cNvPr id="13" name="TextBox 20">
            <a:extLst>
              <a:ext uri="{FF2B5EF4-FFF2-40B4-BE49-F238E27FC236}">
                <a16:creationId xmlns:a16="http://schemas.microsoft.com/office/drawing/2014/main" id="{FDF0C831-2548-C10C-8976-C836DD77960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463398" y="3291685"/>
            <a:ext cx="1264608" cy="68480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R="0" lvl="0" algn="ctr" fontAlgn="auto">
              <a:lnSpc>
                <a:spcPct val="100000"/>
              </a:lnSpc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desired text</a:t>
            </a:r>
          </a:p>
        </p:txBody>
      </p:sp>
      <p:sp>
        <p:nvSpPr>
          <p:cNvPr id="14" name="Textfeld 43">
            <a:extLst>
              <a:ext uri="{FF2B5EF4-FFF2-40B4-BE49-F238E27FC236}">
                <a16:creationId xmlns:a16="http://schemas.microsoft.com/office/drawing/2014/main" id="{487230E3-894A-0322-0204-D924F38CC5B1}"/>
              </a:ext>
            </a:extLst>
          </p:cNvPr>
          <p:cNvSpPr txBox="1">
            <a:spLocks/>
          </p:cNvSpPr>
          <p:nvPr/>
        </p:nvSpPr>
        <p:spPr bwMode="gray">
          <a:xfrm>
            <a:off x="6704412" y="4780915"/>
            <a:ext cx="799724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rem ipsum sit</a:t>
            </a:r>
          </a:p>
        </p:txBody>
      </p:sp>
      <p:sp>
        <p:nvSpPr>
          <p:cNvPr id="15" name="Textfeld 44">
            <a:extLst>
              <a:ext uri="{FF2B5EF4-FFF2-40B4-BE49-F238E27FC236}">
                <a16:creationId xmlns:a16="http://schemas.microsoft.com/office/drawing/2014/main" id="{6BB49633-8CAE-27F8-0A75-C49AD123D205}"/>
              </a:ext>
            </a:extLst>
          </p:cNvPr>
          <p:cNvSpPr txBox="1">
            <a:spLocks/>
          </p:cNvSpPr>
          <p:nvPr/>
        </p:nvSpPr>
        <p:spPr bwMode="gray">
          <a:xfrm>
            <a:off x="6704412" y="4487702"/>
            <a:ext cx="722832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b="1" kern="0">
                <a:solidFill>
                  <a:schemeClr val="accent1"/>
                </a:solidFill>
              </a:rPr>
              <a:t>03.</a:t>
            </a:r>
          </a:p>
        </p:txBody>
      </p:sp>
      <p:sp>
        <p:nvSpPr>
          <p:cNvPr id="16" name="Textfeld 45">
            <a:extLst>
              <a:ext uri="{FF2B5EF4-FFF2-40B4-BE49-F238E27FC236}">
                <a16:creationId xmlns:a16="http://schemas.microsoft.com/office/drawing/2014/main" id="{5BF2B4EA-D197-7C54-7DEE-EF28E375C130}"/>
              </a:ext>
            </a:extLst>
          </p:cNvPr>
          <p:cNvSpPr txBox="1">
            <a:spLocks/>
          </p:cNvSpPr>
          <p:nvPr/>
        </p:nvSpPr>
        <p:spPr bwMode="gray">
          <a:xfrm>
            <a:off x="4258076" y="3837778"/>
            <a:ext cx="934139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rem ipsum dolor sit</a:t>
            </a:r>
          </a:p>
        </p:txBody>
      </p:sp>
      <p:sp>
        <p:nvSpPr>
          <p:cNvPr id="17" name="Textfeld 46">
            <a:extLst>
              <a:ext uri="{FF2B5EF4-FFF2-40B4-BE49-F238E27FC236}">
                <a16:creationId xmlns:a16="http://schemas.microsoft.com/office/drawing/2014/main" id="{5BE30683-998F-7724-CAD9-7198C6D15E19}"/>
              </a:ext>
            </a:extLst>
          </p:cNvPr>
          <p:cNvSpPr txBox="1">
            <a:spLocks/>
          </p:cNvSpPr>
          <p:nvPr/>
        </p:nvSpPr>
        <p:spPr bwMode="gray">
          <a:xfrm>
            <a:off x="4258076" y="3544565"/>
            <a:ext cx="93413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b="1" kern="0">
                <a:solidFill>
                  <a:schemeClr val="accent1"/>
                </a:solidFill>
              </a:rPr>
              <a:t>05.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B70F6F2C-8E78-69BD-B088-AB1CC73ADD6D}"/>
              </a:ext>
            </a:extLst>
          </p:cNvPr>
          <p:cNvSpPr>
            <a:spLocks/>
          </p:cNvSpPr>
          <p:nvPr/>
        </p:nvSpPr>
        <p:spPr bwMode="gray">
          <a:xfrm>
            <a:off x="424574" y="1914812"/>
            <a:ext cx="289245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r>
              <a:rPr lang="en-US" b="1">
                <a:solidFill>
                  <a:schemeClr val="accent1"/>
                </a:solidFill>
                <a:ea typeface="Verdana" pitchFamily="34" charset="0"/>
              </a:rPr>
              <a:t>06. </a:t>
            </a:r>
            <a:r>
              <a:rPr lang="en-US">
                <a:solidFill>
                  <a:schemeClr val="tx2"/>
                </a:solidFill>
                <a:ea typeface="Verdana" pitchFamily="34" charset="0"/>
              </a:rPr>
              <a:t>Lorem ipsum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768C9AEE-7E9F-EE0D-FED7-5C0813A72ED1}"/>
              </a:ext>
            </a:extLst>
          </p:cNvPr>
          <p:cNvSpPr>
            <a:spLocks/>
          </p:cNvSpPr>
          <p:nvPr/>
        </p:nvSpPr>
        <p:spPr bwMode="gray">
          <a:xfrm>
            <a:off x="424574" y="2287006"/>
            <a:ext cx="2892459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r>
              <a:rPr lang="en-US" sz="1400"/>
              <a:t> </a:t>
            </a:r>
            <a:r>
              <a:rPr lang="en-US" sz="1400" err="1"/>
              <a:t>fringilla</a:t>
            </a:r>
            <a:r>
              <a:rPr lang="en-US" sz="1400"/>
              <a:t> pulvinar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0B343C53-260A-057D-4FF8-4E2F0DF66E7A}"/>
              </a:ext>
            </a:extLst>
          </p:cNvPr>
          <p:cNvSpPr>
            <a:spLocks/>
          </p:cNvSpPr>
          <p:nvPr/>
        </p:nvSpPr>
        <p:spPr bwMode="gray">
          <a:xfrm>
            <a:off x="424574" y="3232542"/>
            <a:ext cx="289245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r>
              <a:rPr lang="en-US" b="1">
                <a:solidFill>
                  <a:schemeClr val="accent1"/>
                </a:solidFill>
                <a:ea typeface="Verdana" pitchFamily="34" charset="0"/>
              </a:rPr>
              <a:t>05. </a:t>
            </a:r>
            <a:r>
              <a:rPr lang="en-US">
                <a:solidFill>
                  <a:schemeClr val="tx2"/>
                </a:solidFill>
                <a:ea typeface="Verdana" pitchFamily="34" charset="0"/>
              </a:rPr>
              <a:t>Lorem ipsum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744DDC49-B26E-3A17-B55F-8E8DEBEDD1E9}"/>
              </a:ext>
            </a:extLst>
          </p:cNvPr>
          <p:cNvSpPr>
            <a:spLocks/>
          </p:cNvSpPr>
          <p:nvPr/>
        </p:nvSpPr>
        <p:spPr bwMode="gray">
          <a:xfrm>
            <a:off x="424574" y="3604736"/>
            <a:ext cx="2892459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r>
              <a:rPr lang="en-US" sz="1400"/>
              <a:t> </a:t>
            </a:r>
            <a:r>
              <a:rPr lang="en-US" sz="1400" err="1"/>
              <a:t>fringilla</a:t>
            </a:r>
            <a:r>
              <a:rPr lang="en-US" sz="1400"/>
              <a:t> pulvinar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66109008-5695-0418-FCED-4A6EACDF7CD6}"/>
              </a:ext>
            </a:extLst>
          </p:cNvPr>
          <p:cNvSpPr>
            <a:spLocks/>
          </p:cNvSpPr>
          <p:nvPr/>
        </p:nvSpPr>
        <p:spPr bwMode="gray">
          <a:xfrm>
            <a:off x="424574" y="4550272"/>
            <a:ext cx="289245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r>
              <a:rPr lang="en-US" b="1">
                <a:solidFill>
                  <a:schemeClr val="accent1"/>
                </a:solidFill>
                <a:ea typeface="Verdana" pitchFamily="34" charset="0"/>
              </a:rPr>
              <a:t>04. </a:t>
            </a:r>
            <a:r>
              <a:rPr lang="en-US">
                <a:solidFill>
                  <a:schemeClr val="tx2"/>
                </a:solidFill>
                <a:ea typeface="Verdana" pitchFamily="34" charset="0"/>
              </a:rPr>
              <a:t>Lorem ipsum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701FBD9B-CE1D-2BCC-EA60-6E27FB7B368D}"/>
              </a:ext>
            </a:extLst>
          </p:cNvPr>
          <p:cNvSpPr>
            <a:spLocks/>
          </p:cNvSpPr>
          <p:nvPr/>
        </p:nvSpPr>
        <p:spPr bwMode="gray">
          <a:xfrm>
            <a:off x="424574" y="4922466"/>
            <a:ext cx="2892459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r>
              <a:rPr lang="en-US" sz="1400"/>
              <a:t> </a:t>
            </a:r>
            <a:r>
              <a:rPr lang="en-US" sz="1400" err="1"/>
              <a:t>fringilla</a:t>
            </a:r>
            <a:r>
              <a:rPr lang="en-US" sz="1400"/>
              <a:t> pulvinar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A4DFEDC4-DA66-6682-0F84-A0A540C5D681}"/>
              </a:ext>
            </a:extLst>
          </p:cNvPr>
          <p:cNvSpPr>
            <a:spLocks/>
          </p:cNvSpPr>
          <p:nvPr/>
        </p:nvSpPr>
        <p:spPr bwMode="gray">
          <a:xfrm>
            <a:off x="8916954" y="1914812"/>
            <a:ext cx="289245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r>
              <a:rPr lang="en-US" b="1">
                <a:solidFill>
                  <a:schemeClr val="accent1"/>
                </a:solidFill>
                <a:ea typeface="Verdana" pitchFamily="34" charset="0"/>
              </a:rPr>
              <a:t>01. </a:t>
            </a:r>
            <a:r>
              <a:rPr lang="en-US">
                <a:solidFill>
                  <a:schemeClr val="tx2"/>
                </a:solidFill>
                <a:ea typeface="Verdana" pitchFamily="34" charset="0"/>
              </a:rPr>
              <a:t>Lorem ipsum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6DC5B137-649C-E886-7CF1-8DF011711663}"/>
              </a:ext>
            </a:extLst>
          </p:cNvPr>
          <p:cNvSpPr>
            <a:spLocks/>
          </p:cNvSpPr>
          <p:nvPr/>
        </p:nvSpPr>
        <p:spPr bwMode="gray">
          <a:xfrm>
            <a:off x="8916954" y="2287006"/>
            <a:ext cx="2892459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r>
              <a:rPr lang="en-US" sz="1400"/>
              <a:t> </a:t>
            </a:r>
            <a:r>
              <a:rPr lang="en-US" sz="1400" err="1"/>
              <a:t>fringilla</a:t>
            </a:r>
            <a:r>
              <a:rPr lang="en-US" sz="1400"/>
              <a:t> pulvinar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336F6D6D-9F2F-1DD9-915C-5919EC09EE89}"/>
              </a:ext>
            </a:extLst>
          </p:cNvPr>
          <p:cNvSpPr>
            <a:spLocks/>
          </p:cNvSpPr>
          <p:nvPr/>
        </p:nvSpPr>
        <p:spPr bwMode="gray">
          <a:xfrm>
            <a:off x="8916954" y="3232542"/>
            <a:ext cx="289245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r>
              <a:rPr lang="en-US" b="1">
                <a:solidFill>
                  <a:schemeClr val="accent1"/>
                </a:solidFill>
                <a:ea typeface="Verdana" pitchFamily="34" charset="0"/>
              </a:rPr>
              <a:t>02. </a:t>
            </a:r>
            <a:r>
              <a:rPr lang="en-US">
                <a:solidFill>
                  <a:schemeClr val="tx2"/>
                </a:solidFill>
                <a:ea typeface="Verdana" pitchFamily="34" charset="0"/>
              </a:rPr>
              <a:t>Lorem ipsum</a:t>
            </a:r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68DFEC43-F2DC-8D9F-0D4C-BC9ADA725F1A}"/>
              </a:ext>
            </a:extLst>
          </p:cNvPr>
          <p:cNvSpPr>
            <a:spLocks/>
          </p:cNvSpPr>
          <p:nvPr/>
        </p:nvSpPr>
        <p:spPr bwMode="gray">
          <a:xfrm>
            <a:off x="8916954" y="3604736"/>
            <a:ext cx="2892459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r>
              <a:rPr lang="en-US" sz="1400"/>
              <a:t> </a:t>
            </a:r>
            <a:r>
              <a:rPr lang="en-US" sz="1400" err="1"/>
              <a:t>fringilla</a:t>
            </a:r>
            <a:r>
              <a:rPr lang="en-US" sz="1400"/>
              <a:t> pulvinar</a:t>
            </a: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6D2225C3-59B8-B7DB-A248-C156E030C612}"/>
              </a:ext>
            </a:extLst>
          </p:cNvPr>
          <p:cNvSpPr>
            <a:spLocks/>
          </p:cNvSpPr>
          <p:nvPr/>
        </p:nvSpPr>
        <p:spPr bwMode="gray">
          <a:xfrm>
            <a:off x="8916954" y="4550272"/>
            <a:ext cx="289245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r>
              <a:rPr lang="en-US" b="1">
                <a:solidFill>
                  <a:schemeClr val="accent1"/>
                </a:solidFill>
                <a:ea typeface="Verdana" pitchFamily="34" charset="0"/>
              </a:rPr>
              <a:t>03. </a:t>
            </a:r>
            <a:r>
              <a:rPr lang="en-US">
                <a:solidFill>
                  <a:schemeClr val="tx2"/>
                </a:solidFill>
                <a:ea typeface="Verdana" pitchFamily="34" charset="0"/>
              </a:rPr>
              <a:t>Lorem ipsum</a:t>
            </a: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ECE4286C-D491-6AC0-482C-6EA97DA2A671}"/>
              </a:ext>
            </a:extLst>
          </p:cNvPr>
          <p:cNvSpPr>
            <a:spLocks/>
          </p:cNvSpPr>
          <p:nvPr/>
        </p:nvSpPr>
        <p:spPr bwMode="gray">
          <a:xfrm>
            <a:off x="8916954" y="4922466"/>
            <a:ext cx="2892459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r>
              <a:rPr lang="en-US" sz="1400"/>
              <a:t> </a:t>
            </a:r>
            <a:r>
              <a:rPr lang="en-US" sz="1400" err="1"/>
              <a:t>fringilla</a:t>
            </a:r>
            <a:r>
              <a:rPr lang="en-US" sz="1400"/>
              <a:t> pulvinar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81DC182B-0C5D-F80B-C54E-E4F332AEEEC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44966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circle, process, processes, segment, cycle, cycles</a:t>
            </a:r>
          </a:p>
        </p:txBody>
      </p:sp>
    </p:spTree>
    <p:extLst>
      <p:ext uri="{BB962C8B-B14F-4D97-AF65-F5344CB8AC3E}">
        <p14:creationId xmlns:p14="http://schemas.microsoft.com/office/powerpoint/2010/main" val="1696279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